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1663" r:id="rId3"/>
    <p:sldId id="1664" r:id="rId4"/>
    <p:sldId id="1665" r:id="rId5"/>
    <p:sldId id="1666" r:id="rId6"/>
    <p:sldId id="1670" r:id="rId7"/>
    <p:sldId id="1667" r:id="rId8"/>
    <p:sldId id="1669" r:id="rId9"/>
    <p:sldId id="1668" r:id="rId10"/>
    <p:sldId id="1671" r:id="rId11"/>
    <p:sldId id="1673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2C77D0-81F3-439E-B194-BF2429D4B7F1}" v="3" dt="2023-01-25T13:59:12.825"/>
    <p1510:client id="{A1CD376B-FAD3-4DCC-8C60-E2430CAADC47}" v="24" dt="2023-03-10T09:56:39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2371" autoAdjust="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miksha J Chandrappa [UNext]" userId="S::samiksha.chandrappa@u-next.com::4c56b709-6087-48a2-9de2-0115b3d57ab9" providerId="AD" clId="Web-{A1CD376B-FAD3-4DCC-8C60-E2430CAADC47}"/>
    <pc:docChg chg="modSld">
      <pc:chgData name="Samiksha J Chandrappa [UNext]" userId="S::samiksha.chandrappa@u-next.com::4c56b709-6087-48a2-9de2-0115b3d57ab9" providerId="AD" clId="Web-{A1CD376B-FAD3-4DCC-8C60-E2430CAADC47}" dt="2023-03-10T09:56:38.468" v="12" actId="20577"/>
      <pc:docMkLst>
        <pc:docMk/>
      </pc:docMkLst>
      <pc:sldChg chg="modSp">
        <pc:chgData name="Samiksha J Chandrappa [UNext]" userId="S::samiksha.chandrappa@u-next.com::4c56b709-6087-48a2-9de2-0115b3d57ab9" providerId="AD" clId="Web-{A1CD376B-FAD3-4DCC-8C60-E2430CAADC47}" dt="2023-03-10T09:55:13.342" v="1" actId="20577"/>
        <pc:sldMkLst>
          <pc:docMk/>
          <pc:sldMk cId="3267775274" sldId="256"/>
        </pc:sldMkLst>
        <pc:spChg chg="mod">
          <ac:chgData name="Samiksha J Chandrappa [UNext]" userId="S::samiksha.chandrappa@u-next.com::4c56b709-6087-48a2-9de2-0115b3d57ab9" providerId="AD" clId="Web-{A1CD376B-FAD3-4DCC-8C60-E2430CAADC47}" dt="2023-03-10T09:55:13.342" v="1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modSp">
        <pc:chgData name="Samiksha J Chandrappa [UNext]" userId="S::samiksha.chandrappa@u-next.com::4c56b709-6087-48a2-9de2-0115b3d57ab9" providerId="AD" clId="Web-{A1CD376B-FAD3-4DCC-8C60-E2430CAADC47}" dt="2023-03-10T09:55:42.920" v="5" actId="20577"/>
        <pc:sldMkLst>
          <pc:docMk/>
          <pc:sldMk cId="1651187912" sldId="1663"/>
        </pc:sldMkLst>
        <pc:spChg chg="mod">
          <ac:chgData name="Samiksha J Chandrappa [UNext]" userId="S::samiksha.chandrappa@u-next.com::4c56b709-6087-48a2-9de2-0115b3d57ab9" providerId="AD" clId="Web-{A1CD376B-FAD3-4DCC-8C60-E2430CAADC47}" dt="2023-03-10T09:55:42.920" v="5" actId="20577"/>
          <ac:spMkLst>
            <pc:docMk/>
            <pc:sldMk cId="1651187912" sldId="1663"/>
            <ac:spMk id="2" creationId="{D141EE2C-9837-486A-6448-5AE23F8A6EAD}"/>
          </ac:spMkLst>
        </pc:spChg>
      </pc:sldChg>
      <pc:sldChg chg="modSp">
        <pc:chgData name="Samiksha J Chandrappa [UNext]" userId="S::samiksha.chandrappa@u-next.com::4c56b709-6087-48a2-9de2-0115b3d57ab9" providerId="AD" clId="Web-{A1CD376B-FAD3-4DCC-8C60-E2430CAADC47}" dt="2023-03-10T09:56:38.468" v="12" actId="20577"/>
        <pc:sldMkLst>
          <pc:docMk/>
          <pc:sldMk cId="1345837746" sldId="1665"/>
        </pc:sldMkLst>
        <pc:spChg chg="mod">
          <ac:chgData name="Samiksha J Chandrappa [UNext]" userId="S::samiksha.chandrappa@u-next.com::4c56b709-6087-48a2-9de2-0115b3d57ab9" providerId="AD" clId="Web-{A1CD376B-FAD3-4DCC-8C60-E2430CAADC47}" dt="2023-03-10T09:56:38.468" v="12" actId="20577"/>
          <ac:spMkLst>
            <pc:docMk/>
            <pc:sldMk cId="1345837746" sldId="1665"/>
            <ac:spMk id="2" creationId="{D141EE2C-9837-486A-6448-5AE23F8A6EAD}"/>
          </ac:spMkLst>
        </pc:spChg>
        <pc:spChg chg="mod">
          <ac:chgData name="Samiksha J Chandrappa [UNext]" userId="S::samiksha.chandrappa@u-next.com::4c56b709-6087-48a2-9de2-0115b3d57ab9" providerId="AD" clId="Web-{A1CD376B-FAD3-4DCC-8C60-E2430CAADC47}" dt="2023-03-10T09:56:19.733" v="8" actId="20577"/>
          <ac:spMkLst>
            <pc:docMk/>
            <pc:sldMk cId="1345837746" sldId="1665"/>
            <ac:spMk id="5" creationId="{37F139C7-B669-9610-4E2A-943C79E218C4}"/>
          </ac:spMkLst>
        </pc:spChg>
      </pc:sldChg>
    </pc:docChg>
  </pc:docChgLst>
  <pc:docChgLst>
    <pc:chgData name="Bhushan Madapura [UNext]" userId="2baadad7-7b8e-4632-a62a-dff9a334b569" providerId="ADAL" clId="{0A2C77D0-81F3-439E-B194-BF2429D4B7F1}"/>
    <pc:docChg chg="custSel addSld delSld modSld sldOrd">
      <pc:chgData name="Bhushan Madapura [UNext]" userId="2baadad7-7b8e-4632-a62a-dff9a334b569" providerId="ADAL" clId="{0A2C77D0-81F3-439E-B194-BF2429D4B7F1}" dt="2023-02-14T07:50:29.695" v="537" actId="47"/>
      <pc:docMkLst>
        <pc:docMk/>
      </pc:docMkLst>
      <pc:sldChg chg="modSp mod">
        <pc:chgData name="Bhushan Madapura [UNext]" userId="2baadad7-7b8e-4632-a62a-dff9a334b569" providerId="ADAL" clId="{0A2C77D0-81F3-439E-B194-BF2429D4B7F1}" dt="2023-02-14T07:50:15.363" v="536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0A2C77D0-81F3-439E-B194-BF2429D4B7F1}" dt="2023-02-14T07:50:15.363" v="536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modSp mod">
        <pc:chgData name="Bhushan Madapura [UNext]" userId="2baadad7-7b8e-4632-a62a-dff9a334b569" providerId="ADAL" clId="{0A2C77D0-81F3-439E-B194-BF2429D4B7F1}" dt="2023-02-14T07:48:49.938" v="491" actId="6549"/>
        <pc:sldMkLst>
          <pc:docMk/>
          <pc:sldMk cId="1651187912" sldId="1663"/>
        </pc:sldMkLst>
        <pc:spChg chg="mod">
          <ac:chgData name="Bhushan Madapura [UNext]" userId="2baadad7-7b8e-4632-a62a-dff9a334b569" providerId="ADAL" clId="{0A2C77D0-81F3-439E-B194-BF2429D4B7F1}" dt="2023-02-14T07:48:49.938" v="491" actId="6549"/>
          <ac:spMkLst>
            <pc:docMk/>
            <pc:sldMk cId="1651187912" sldId="1663"/>
            <ac:spMk id="2" creationId="{D141EE2C-9837-486A-6448-5AE23F8A6EAD}"/>
          </ac:spMkLst>
        </pc:spChg>
      </pc:sldChg>
      <pc:sldChg chg="modSp mod">
        <pc:chgData name="Bhushan Madapura [UNext]" userId="2baadad7-7b8e-4632-a62a-dff9a334b569" providerId="ADAL" clId="{0A2C77D0-81F3-439E-B194-BF2429D4B7F1}" dt="2023-02-14T07:49:08.986" v="525" actId="20577"/>
        <pc:sldMkLst>
          <pc:docMk/>
          <pc:sldMk cId="1345837746" sldId="1665"/>
        </pc:sldMkLst>
        <pc:spChg chg="mod">
          <ac:chgData name="Bhushan Madapura [UNext]" userId="2baadad7-7b8e-4632-a62a-dff9a334b569" providerId="ADAL" clId="{0A2C77D0-81F3-439E-B194-BF2429D4B7F1}" dt="2023-02-14T07:49:08.986" v="525" actId="20577"/>
          <ac:spMkLst>
            <pc:docMk/>
            <pc:sldMk cId="1345837746" sldId="1665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2-14T07:49:02.637" v="515" actId="20577"/>
          <ac:spMkLst>
            <pc:docMk/>
            <pc:sldMk cId="1345837746" sldId="1665"/>
            <ac:spMk id="5" creationId="{37F139C7-B669-9610-4E2A-943C79E218C4}"/>
          </ac:spMkLst>
        </pc:spChg>
      </pc:sldChg>
      <pc:sldChg chg="modSp add del mod ord">
        <pc:chgData name="Bhushan Madapura [UNext]" userId="2baadad7-7b8e-4632-a62a-dff9a334b569" providerId="ADAL" clId="{0A2C77D0-81F3-439E-B194-BF2429D4B7F1}" dt="2023-02-14T07:50:29.695" v="537" actId="47"/>
        <pc:sldMkLst>
          <pc:docMk/>
          <pc:sldMk cId="1406847613" sldId="1672"/>
        </pc:sldMkLst>
        <pc:spChg chg="mod">
          <ac:chgData name="Bhushan Madapura [UNext]" userId="2baadad7-7b8e-4632-a62a-dff9a334b569" providerId="ADAL" clId="{0A2C77D0-81F3-439E-B194-BF2429D4B7F1}" dt="2023-02-14T07:48:11.481" v="489" actId="20577"/>
          <ac:spMkLst>
            <pc:docMk/>
            <pc:sldMk cId="1406847613" sldId="1672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1-25T13:53:19.947" v="66" actId="20577"/>
          <ac:spMkLst>
            <pc:docMk/>
            <pc:sldMk cId="1406847613" sldId="1672"/>
            <ac:spMk id="5" creationId="{37F139C7-B669-9610-4E2A-943C79E218C4}"/>
          </ac:spMkLst>
        </pc:spChg>
      </pc:sldChg>
      <pc:sldChg chg="modSp add mod">
        <pc:chgData name="Bhushan Madapura [UNext]" userId="2baadad7-7b8e-4632-a62a-dff9a334b569" providerId="ADAL" clId="{0A2C77D0-81F3-439E-B194-BF2429D4B7F1}" dt="2023-01-25T13:58:54.304" v="449" actId="20577"/>
        <pc:sldMkLst>
          <pc:docMk/>
          <pc:sldMk cId="2631445469" sldId="1673"/>
        </pc:sldMkLst>
        <pc:spChg chg="mod">
          <ac:chgData name="Bhushan Madapura [UNext]" userId="2baadad7-7b8e-4632-a62a-dff9a334b569" providerId="ADAL" clId="{0A2C77D0-81F3-439E-B194-BF2429D4B7F1}" dt="2023-01-25T13:58:54.304" v="449" actId="20577"/>
          <ac:spMkLst>
            <pc:docMk/>
            <pc:sldMk cId="2631445469" sldId="1673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1-25T13:54:30.966" v="119" actId="20577"/>
          <ac:spMkLst>
            <pc:docMk/>
            <pc:sldMk cId="2631445469" sldId="1673"/>
            <ac:spMk id="5" creationId="{37F139C7-B669-9610-4E2A-943C79E218C4}"/>
          </ac:spMkLst>
        </pc:spChg>
      </pc:sldChg>
      <pc:sldChg chg="modSp add del mod">
        <pc:chgData name="Bhushan Madapura [UNext]" userId="2baadad7-7b8e-4632-a62a-dff9a334b569" providerId="ADAL" clId="{0A2C77D0-81F3-439E-B194-BF2429D4B7F1}" dt="2023-02-14T07:49:57.153" v="526" actId="47"/>
        <pc:sldMkLst>
          <pc:docMk/>
          <pc:sldMk cId="414632558" sldId="1674"/>
        </pc:sldMkLst>
        <pc:spChg chg="mod">
          <ac:chgData name="Bhushan Madapura [UNext]" userId="2baadad7-7b8e-4632-a62a-dff9a334b569" providerId="ADAL" clId="{0A2C77D0-81F3-439E-B194-BF2429D4B7F1}" dt="2023-01-25T13:59:22.785" v="472" actId="20577"/>
          <ac:spMkLst>
            <pc:docMk/>
            <pc:sldMk cId="414632558" sldId="1674"/>
            <ac:spMk id="5" creationId="{37F139C7-B669-9610-4E2A-943C79E218C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0/03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0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2622542"/>
            <a:ext cx="10525125" cy="1678408"/>
          </a:xfrm>
        </p:spPr>
        <p:txBody>
          <a:bodyPr anchor="b">
            <a:spAutoFit/>
          </a:bodyPr>
          <a:lstStyle/>
          <a:p>
            <a:r>
              <a:rPr lang="en-US" sz="3200" dirty="0"/>
              <a:t>Certification in Advanced Tech Service Engineering</a:t>
            </a:r>
          </a:p>
          <a:p>
            <a:r>
              <a:rPr lang="en-US" sz="3200" dirty="0">
                <a:latin typeface="Arial"/>
                <a:cs typeface="Arial"/>
              </a:rPr>
              <a:t>Predictive– Case study </a:t>
            </a:r>
            <a:endParaRPr lang="en-US" sz="3200" dirty="0"/>
          </a:p>
          <a:p>
            <a:r>
              <a:rPr lang="en-US" sz="3200" dirty="0"/>
              <a:t>&lt;Case Study Nam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1"/>
                </a:solidFill>
              </a:rPr>
              <a:t>&lt;Batch#&gt;</a:t>
            </a:r>
          </a:p>
          <a:p>
            <a:r>
              <a:rPr lang="en-IN" b="1" dirty="0">
                <a:solidFill>
                  <a:schemeClr val="bg1"/>
                </a:solidFill>
              </a:rPr>
              <a:t>&lt;Group Name/Group#&gt;</a:t>
            </a:r>
          </a:p>
          <a:p>
            <a:endParaRPr lang="en-IN" b="1" dirty="0">
              <a:solidFill>
                <a:schemeClr val="bg1"/>
              </a:solidFill>
            </a:endParaRPr>
          </a:p>
          <a:p>
            <a:r>
              <a:rPr lang="en-IN" b="1" dirty="0">
                <a:solidFill>
                  <a:schemeClr val="bg1"/>
                </a:solidFill>
              </a:rPr>
              <a:t>&lt;Date&gt;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E9BE476-4E72-25F2-C6F4-5EDE100DBBAE}"/>
              </a:ext>
            </a:extLst>
          </p:cNvPr>
          <p:cNvGrpSpPr/>
          <p:nvPr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57E4052-6DA1-D515-8D8A-1312F8C28638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82B8CC9-895E-6761-4A3A-B66A225CD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your manager’s feedback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 Kindly have a discussion with your manager on your learnings from the module. In this section, please include details of your manager’s feedback and/or inputs on your use case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have you implemented in your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In this section you can share details of extra functionality/additional technical solutions that you have implemented in your case study. This can be something which can potentially enhance the customer/business impact. Please also quantify the impact/benefit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Team 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Predictive module overview</a:t>
            </a:r>
            <a:endParaRPr lang="en-US" sz="2000" dirty="0">
              <a:solidFill>
                <a:schemeClr val="tx1"/>
              </a:solidFill>
              <a:cs typeface="Arial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 to case study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Learnings &amp; enhancemen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09" y="484742"/>
            <a:ext cx="11024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 introduction – &lt;Team Name&gt;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3E7E601-D7F2-A43C-37FA-BD2736A077CF}"/>
              </a:ext>
            </a:extLst>
          </p:cNvPr>
          <p:cNvSpPr/>
          <p:nvPr/>
        </p:nvSpPr>
        <p:spPr>
          <a:xfrm>
            <a:off x="638977" y="1244907"/>
            <a:ext cx="5368887" cy="23906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Participant 1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Image and Profile (Name, Role)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573E63-9C03-8FA4-2E01-B8257DB3CD67}"/>
              </a:ext>
            </a:extLst>
          </p:cNvPr>
          <p:cNvSpPr/>
          <p:nvPr/>
        </p:nvSpPr>
        <p:spPr>
          <a:xfrm>
            <a:off x="6312214" y="1244906"/>
            <a:ext cx="5368887" cy="23906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Participant 2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Image and Profile (Name, Role)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9524F3-791C-BF7F-36B7-D4B6E7C8FCB6}"/>
              </a:ext>
            </a:extLst>
          </p:cNvPr>
          <p:cNvSpPr/>
          <p:nvPr/>
        </p:nvSpPr>
        <p:spPr>
          <a:xfrm>
            <a:off x="638976" y="3904571"/>
            <a:ext cx="5368887" cy="23906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Participant 3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Image and Profile (Name, Role)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0444D2-F9D4-9FB8-4C46-D327A514DD73}"/>
              </a:ext>
            </a:extLst>
          </p:cNvPr>
          <p:cNvSpPr/>
          <p:nvPr/>
        </p:nvSpPr>
        <p:spPr>
          <a:xfrm>
            <a:off x="6312213" y="3904571"/>
            <a:ext cx="5368887" cy="23906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Participant 4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Image and Profile (Name, Role)</a:t>
            </a:r>
            <a:endParaRPr lang="en-IN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93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dictive Overview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here, your personal definition of Predictive. Please share an example to detail the definition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837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your understanding the case study selected. Highlight the associated problems that would be addressed in this case study. You could refer to any real-life business scenario that this case study addresses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931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benefi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highlight the benefits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71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representation (charts/diagrams/snapshots) of the solution design for this case study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snapshots (charts/snapshots)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565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details of your personal learnings from the case study implementation. What additional things could be implemented in the case study.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You may also include brief about the immediate/short-term opportunities you see to implement the learnings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820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44</TotalTime>
  <Words>366</Words>
  <Application>Microsoft Office PowerPoint</Application>
  <PresentationFormat>Widescreen</PresentationFormat>
  <Paragraphs>56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Bhushan Madapura [UNext]</cp:lastModifiedBy>
  <cp:revision>416</cp:revision>
  <dcterms:created xsi:type="dcterms:W3CDTF">2022-01-18T12:35:56Z</dcterms:created>
  <dcterms:modified xsi:type="dcterms:W3CDTF">2023-03-10T09:5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</Properties>
</file>